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48" r:id="rId4"/>
  </p:sldMasterIdLst>
  <p:notesMasterIdLst>
    <p:notesMasterId r:id="rId6"/>
  </p:notesMasterIdLst>
  <p:sldIdLst>
    <p:sldId id="2091" r:id="rId5"/>
  </p:sldIdLst>
  <p:sldSz cx="11522075" cy="6484938"/>
  <p:notesSz cx="7315200" cy="12344400"/>
  <p:embeddedFontLst>
    <p:embeddedFont>
      <p:font typeface="Calibri" panose="020F0502020204030204" pitchFamily="34" charset="0"/>
      <p:regular r:id="rId7"/>
      <p:bold r:id="rId8"/>
      <p:italic r:id="rId9"/>
      <p:boldItalic r:id="rId10"/>
    </p:embeddedFont>
    <p:embeddedFont>
      <p:font typeface="FlexoSoft" panose="020B0604020202020204" charset="0"/>
      <p:regular r:id="rId11"/>
      <p:bold r:id="rId12"/>
      <p:italic r:id="rId13"/>
      <p:boldItalic r:id="rId14"/>
    </p:embeddedFont>
    <p:embeddedFont>
      <p:font typeface="Montserrat" panose="00000500000000000000" pitchFamily="2" charset="0"/>
      <p:regular r:id="rId15"/>
      <p:bold r:id="rId16"/>
      <p:italic r:id="rId17"/>
      <p:boldItalic r:id="rId18"/>
    </p:embeddedFont>
    <p:embeddedFont>
      <p:font typeface="Montserrat Light" panose="00000400000000000000" pitchFamily="2" charset="0"/>
      <p:regular r:id="rId19"/>
      <p:italic r:id="rId20"/>
    </p:embeddedFont>
    <p:embeddedFont>
      <p:font typeface="Open Sans" panose="020B0606030504020204" pitchFamily="34" charset="0"/>
      <p:regular r:id="rId21"/>
      <p:bold r:id="rId22"/>
      <p:italic r:id="rId23"/>
      <p:boldItalic r:id="rId24"/>
    </p:embeddedFont>
    <p:embeddedFont>
      <p:font typeface="Wingdings 2" panose="05020102010507070707" pitchFamily="18" charset="2"/>
      <p:regular r:id="rId25"/>
    </p:embeddedFont>
  </p:embeddedFontLst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6C964C34-E9F5-4320-A6FA-D1BDB512744B}">
          <p14:sldIdLst>
            <p14:sldId id="209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27" userDrawn="1">
          <p15:clr>
            <a:srgbClr val="A4A3A4"/>
          </p15:clr>
        </p15:guide>
        <p15:guide id="2" pos="182" userDrawn="1">
          <p15:clr>
            <a:srgbClr val="A4A3A4"/>
          </p15:clr>
        </p15:guide>
        <p15:guide id="3" pos="1832" userDrawn="1">
          <p15:clr>
            <a:srgbClr val="A4A3A4"/>
          </p15:clr>
        </p15:guide>
        <p15:guide id="4" pos="1927" userDrawn="1">
          <p15:clr>
            <a:srgbClr val="A4A3A4"/>
          </p15:clr>
        </p15:guide>
        <p15:guide id="5" pos="3584" userDrawn="1">
          <p15:clr>
            <a:srgbClr val="A4A3A4"/>
          </p15:clr>
        </p15:guide>
        <p15:guide id="6" pos="3672" userDrawn="1">
          <p15:clr>
            <a:srgbClr val="A4A3A4"/>
          </p15:clr>
        </p15:guide>
        <p15:guide id="7" pos="5328" userDrawn="1">
          <p15:clr>
            <a:srgbClr val="A4A3A4"/>
          </p15:clr>
        </p15:guide>
        <p15:guide id="8" pos="5419" userDrawn="1">
          <p15:clr>
            <a:srgbClr val="A4A3A4"/>
          </p15:clr>
        </p15:guide>
        <p15:guide id="9" pos="7075" userDrawn="1">
          <p15:clr>
            <a:srgbClr val="A4A3A4"/>
          </p15:clr>
        </p15:guide>
        <p15:guide id="10" orient="horz" pos="322" userDrawn="1">
          <p15:clr>
            <a:srgbClr val="A4A3A4"/>
          </p15:clr>
        </p15:guide>
        <p15:guide id="11" orient="horz" pos="741" userDrawn="1">
          <p15:clr>
            <a:srgbClr val="A4A3A4"/>
          </p15:clr>
        </p15:guide>
        <p15:guide id="12" orient="horz" pos="1013" userDrawn="1">
          <p15:clr>
            <a:srgbClr val="A4A3A4"/>
          </p15:clr>
        </p15:guide>
        <p15:guide id="13" orient="horz" pos="3678" userDrawn="1">
          <p15:clr>
            <a:srgbClr val="A4A3A4"/>
          </p15:clr>
        </p15:guide>
        <p15:guide id="14" orient="horz" pos="3811" userDrawn="1">
          <p15:clr>
            <a:srgbClr val="A4A3A4"/>
          </p15:clr>
        </p15:guide>
        <p15:guide id="15" orient="horz" pos="396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BFEE530-35CB-B093-9F2F-E85D17C2AEB0}" name="Herbert Damker" initials="HD" userId="Herbert Damker" providerId="None"/>
  <p188:author id="{689F01D6-80A9-6797-AC94-393701DE8539}" name="Kümmerle, Markus" initials="KM" userId="S::Markus.Kuemmerle@t-systems.com::edb588ad-b118-44cb-93b6-335b967c9009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1" name="Autor" initials="A" lastIdx="0" clrIdx="1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A9BF3"/>
    <a:srgbClr val="122769"/>
    <a:srgbClr val="014651"/>
    <a:srgbClr val="000620"/>
    <a:srgbClr val="004750"/>
    <a:srgbClr val="37FFFD"/>
    <a:srgbClr val="FFFFFF"/>
    <a:srgbClr val="A4A4A4"/>
    <a:srgbClr val="32B9AF"/>
    <a:srgbClr val="00A2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871" autoAdjust="0"/>
    <p:restoredTop sz="95833"/>
  </p:normalViewPr>
  <p:slideViewPr>
    <p:cSldViewPr snapToGrid="0">
      <p:cViewPr varScale="1">
        <p:scale>
          <a:sx n="112" d="100"/>
          <a:sy n="112" d="100"/>
        </p:scale>
        <p:origin x="1026" y="102"/>
      </p:cViewPr>
      <p:guideLst>
        <p:guide orient="horz" pos="227"/>
        <p:guide pos="182"/>
        <p:guide pos="1832"/>
        <p:guide pos="1927"/>
        <p:guide pos="3584"/>
        <p:guide pos="3672"/>
        <p:guide pos="5328"/>
        <p:guide pos="5419"/>
        <p:guide pos="7075"/>
        <p:guide orient="horz" pos="322"/>
        <p:guide orient="horz" pos="741"/>
        <p:guide orient="horz" pos="1013"/>
        <p:guide orient="horz" pos="3678"/>
        <p:guide orient="horz" pos="3811"/>
        <p:guide orient="horz" pos="396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font" Target="fonts/font7.fntdata"/><Relationship Id="rId18" Type="http://schemas.openxmlformats.org/officeDocument/2006/relationships/font" Target="fonts/font12.fntdata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font" Target="fonts/font15.fntdata"/><Relationship Id="rId7" Type="http://schemas.openxmlformats.org/officeDocument/2006/relationships/font" Target="fonts/font1.fntdata"/><Relationship Id="rId12" Type="http://schemas.openxmlformats.org/officeDocument/2006/relationships/font" Target="fonts/font6.fntdata"/><Relationship Id="rId17" Type="http://schemas.openxmlformats.org/officeDocument/2006/relationships/font" Target="fonts/font11.fntdata"/><Relationship Id="rId25" Type="http://schemas.openxmlformats.org/officeDocument/2006/relationships/font" Target="fonts/font19.fntdata"/><Relationship Id="rId2" Type="http://schemas.openxmlformats.org/officeDocument/2006/relationships/customXml" Target="../customXml/item2.xml"/><Relationship Id="rId16" Type="http://schemas.openxmlformats.org/officeDocument/2006/relationships/font" Target="fonts/font10.fntdata"/><Relationship Id="rId20" Type="http://schemas.openxmlformats.org/officeDocument/2006/relationships/font" Target="fonts/font14.fntdata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5.fntdata"/><Relationship Id="rId24" Type="http://schemas.openxmlformats.org/officeDocument/2006/relationships/font" Target="fonts/font18.fntdata"/><Relationship Id="rId32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font" Target="fonts/font9.fntdata"/><Relationship Id="rId23" Type="http://schemas.openxmlformats.org/officeDocument/2006/relationships/font" Target="fonts/font17.fntdata"/><Relationship Id="rId28" Type="http://schemas.openxmlformats.org/officeDocument/2006/relationships/presProps" Target="presProps.xml"/><Relationship Id="rId10" Type="http://schemas.openxmlformats.org/officeDocument/2006/relationships/font" Target="fonts/font4.fntdata"/><Relationship Id="rId19" Type="http://schemas.openxmlformats.org/officeDocument/2006/relationships/font" Target="fonts/font13.fntdata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3.fntdata"/><Relationship Id="rId14" Type="http://schemas.openxmlformats.org/officeDocument/2006/relationships/font" Target="fonts/font8.fntdata"/><Relationship Id="rId22" Type="http://schemas.openxmlformats.org/officeDocument/2006/relationships/font" Target="fonts/font16.fntdata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169919" cy="617220"/>
          </a:xfrm>
          <a:prstGeom prst="rect">
            <a:avLst/>
          </a:prstGeom>
        </p:spPr>
        <p:txBody>
          <a:bodyPr vert="horz" lIns="107551" tIns="53775" rIns="107551" bIns="53775" rtlCol="0"/>
          <a:lstStyle>
            <a:lvl1pPr algn="l">
              <a:defRPr sz="14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143589" y="0"/>
            <a:ext cx="3169919" cy="617220"/>
          </a:xfrm>
          <a:prstGeom prst="rect">
            <a:avLst/>
          </a:prstGeom>
        </p:spPr>
        <p:txBody>
          <a:bodyPr vert="horz" lIns="107551" tIns="53775" rIns="107551" bIns="53775" rtlCol="0"/>
          <a:lstStyle>
            <a:lvl1pPr algn="r">
              <a:defRPr sz="1400"/>
            </a:lvl1pPr>
          </a:lstStyle>
          <a:p>
            <a:fld id="{9847C1C0-7CF7-4E43-8415-72BC7E37BCB3}" type="datetimeFigureOut">
              <a:rPr lang="de-DE" smtClean="0"/>
              <a:pPr/>
              <a:t>07.06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-454025" y="925513"/>
            <a:ext cx="8223250" cy="4629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07551" tIns="53775" rIns="107551" bIns="53775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31520" y="5863591"/>
            <a:ext cx="5852160" cy="5554980"/>
          </a:xfrm>
          <a:prstGeom prst="rect">
            <a:avLst/>
          </a:prstGeom>
        </p:spPr>
        <p:txBody>
          <a:bodyPr vert="horz" lIns="107551" tIns="53775" rIns="107551" bIns="53775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11725039"/>
            <a:ext cx="3169919" cy="617220"/>
          </a:xfrm>
          <a:prstGeom prst="rect">
            <a:avLst/>
          </a:prstGeom>
        </p:spPr>
        <p:txBody>
          <a:bodyPr vert="horz" lIns="107551" tIns="53775" rIns="107551" bIns="53775" rtlCol="0" anchor="b"/>
          <a:lstStyle>
            <a:lvl1pPr algn="l">
              <a:defRPr sz="14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143589" y="11725039"/>
            <a:ext cx="3169919" cy="617220"/>
          </a:xfrm>
          <a:prstGeom prst="rect">
            <a:avLst/>
          </a:prstGeom>
        </p:spPr>
        <p:txBody>
          <a:bodyPr vert="horz" lIns="107551" tIns="53775" rIns="107551" bIns="53775" rtlCol="0" anchor="b"/>
          <a:lstStyle>
            <a:lvl1pPr algn="r">
              <a:defRPr sz="1400"/>
            </a:lvl1pPr>
          </a:lstStyle>
          <a:p>
            <a:fld id="{DD817DD0-38E7-46ED-A2FE-994A5C249761}" type="slidenum">
              <a:rPr lang="de-DE" smtClean="0"/>
              <a:pPr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70372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3556048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4999758" y="6073627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sz="180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324304" y="2834820"/>
            <a:ext cx="8886496" cy="2217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4400" b="0" i="0" baseline="0">
                <a:solidFill>
                  <a:schemeClr val="bg1"/>
                </a:solidFill>
                <a:latin typeface="Montserrat Light" pitchFamily="2" charset="77"/>
                <a:ea typeface="Montserrat Light" pitchFamily="2" charset="77"/>
              </a:defRPr>
            </a:lvl1pPr>
          </a:lstStyle>
          <a:p>
            <a:pPr lvl="0"/>
            <a:r>
              <a:rPr lang="de-DE" dirty="0"/>
              <a:t>Montserrat Light</a:t>
            </a:r>
            <a:br>
              <a:rPr lang="de-DE" dirty="0"/>
            </a:br>
            <a:r>
              <a:rPr lang="de-DE" dirty="0"/>
              <a:t>Maximum 3 </a:t>
            </a:r>
            <a:r>
              <a:rPr lang="de-DE" dirty="0" err="1"/>
              <a:t>lines</a:t>
            </a:r>
            <a:br>
              <a:rPr lang="de-DE" dirty="0"/>
            </a:br>
            <a:r>
              <a:rPr lang="de-DE" dirty="0"/>
              <a:t>44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324304" y="5484422"/>
            <a:ext cx="8886496" cy="29944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2000" b="0" i="0" baseline="0">
                <a:solidFill>
                  <a:schemeClr val="bg1"/>
                </a:solidFill>
                <a:latin typeface="Montserrat Light" pitchFamily="2" charset="77"/>
                <a:ea typeface="Montserrat Light" pitchFamily="2" charset="77"/>
              </a:defRPr>
            </a:lvl1pPr>
            <a:lvl5pPr>
              <a:defRPr/>
            </a:lvl5pPr>
          </a:lstStyle>
          <a:p>
            <a:pPr lvl="0"/>
            <a:r>
              <a:rPr lang="de-DE" dirty="0" err="1"/>
              <a:t>Subheading</a:t>
            </a:r>
            <a:r>
              <a:rPr lang="de-DE" dirty="0"/>
              <a:t> Montserrat Light, 20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147" name="Gruppieren 146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48" name="Gruppieren 147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75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9" name="Gruppieren 148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68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0" name="Gruppieren 149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60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1" name="Gruppieren 150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52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DAC6ABFF-D74E-F3D6-83ED-D8DD4422CB8E}"/>
              </a:ext>
            </a:extLst>
          </p:cNvPr>
          <p:cNvSpPr/>
          <p:nvPr userDrawn="1"/>
        </p:nvSpPr>
        <p:spPr>
          <a:xfrm>
            <a:off x="0" y="0"/>
            <a:ext cx="11522075" cy="1467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389520B-6B70-4571-3ABC-0CFCA3485B8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739523"/>
            <a:ext cx="11522075" cy="1467434"/>
          </a:xfrm>
          <a:prstGeom prst="rect">
            <a:avLst/>
          </a:prstGeom>
        </p:spPr>
      </p:pic>
      <p:pic>
        <p:nvPicPr>
          <p:cNvPr id="3" name="Grafik 21">
            <a:extLst>
              <a:ext uri="{FF2B5EF4-FFF2-40B4-BE49-F238E27FC236}">
                <a16:creationId xmlns:a16="http://schemas.microsoft.com/office/drawing/2014/main" id="{D4C43E31-A1C6-FAA1-FEDD-3AF502BC930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88000" y="409180"/>
            <a:ext cx="5105651" cy="982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1594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Blue"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3556048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4999758" y="6073627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sz="180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324304" y="1175971"/>
            <a:ext cx="8937296" cy="410722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4400" b="0" i="0" baseline="0">
                <a:solidFill>
                  <a:schemeClr val="bg1"/>
                </a:solidFill>
                <a:latin typeface="Montserrat Light" pitchFamily="2" charset="77"/>
                <a:ea typeface="Montserrat Light" pitchFamily="2" charset="77"/>
              </a:defRPr>
            </a:lvl1pPr>
          </a:lstStyle>
          <a:p>
            <a:pPr lvl="0"/>
            <a:r>
              <a:rPr lang="de-DE" dirty="0" err="1"/>
              <a:t>Section</a:t>
            </a:r>
            <a:r>
              <a:rPr lang="de-DE" dirty="0"/>
              <a:t> Title</a:t>
            </a:r>
          </a:p>
        </p:txBody>
      </p:sp>
      <p:grpSp>
        <p:nvGrpSpPr>
          <p:cNvPr id="147" name="Gruppieren 146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48" name="Gruppieren 147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75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9" name="Gruppieren 148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68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0" name="Gruppieren 149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60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1" name="Gruppieren 150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52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9595237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9747221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>
            <a:extLst>
              <a:ext uri="{FF2B5EF4-FFF2-40B4-BE49-F238E27FC236}">
                <a16:creationId xmlns:a16="http://schemas.microsoft.com/office/drawing/2014/main" id="{695EB076-E1BD-4EDF-8A49-0FFA62C17B0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776754" y="470208"/>
            <a:ext cx="3482228" cy="67040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C5F8087-362F-E242-4E14-7355C0A9199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7921869" cy="1689463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53D7A036-0797-32AA-A50D-1BD3998F94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4373" y="413152"/>
            <a:ext cx="10944225" cy="784516"/>
          </a:xfrm>
          <a:prstGeom prst="rect">
            <a:avLst/>
          </a:prstGeom>
        </p:spPr>
        <p:txBody>
          <a:bodyPr vert="horz"/>
          <a:lstStyle>
            <a:lvl1pPr>
              <a:defRPr b="0" i="0">
                <a:solidFill>
                  <a:schemeClr val="bg1"/>
                </a:solidFill>
                <a:latin typeface="Montserrat Light" pitchFamily="2" charset="77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</a:rPr>
              <a:t>Slide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20" name="Content Placeholder 17">
            <a:extLst>
              <a:ext uri="{FF2B5EF4-FFF2-40B4-BE49-F238E27FC236}">
                <a16:creationId xmlns:a16="http://schemas.microsoft.com/office/drawing/2014/main" id="{A47CA737-AEFE-339E-5D5C-2C76D186E3E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373" y="1890346"/>
            <a:ext cx="10944225" cy="4124383"/>
          </a:xfrm>
        </p:spPr>
        <p:txBody>
          <a:bodyPr/>
          <a:lstStyle>
            <a:lvl1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1pPr>
            <a:lvl2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2pPr>
            <a:lvl3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3pPr>
            <a:lvl4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4pPr>
            <a:lvl5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82913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9954010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44373" y="1509913"/>
            <a:ext cx="10789702" cy="43257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irst Level</a:t>
            </a:r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Level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Level</a:t>
            </a:r>
          </a:p>
          <a:p>
            <a:pPr lvl="5"/>
            <a:r>
              <a:rPr lang="de-DE" dirty="0" err="1"/>
              <a:t>Sixth</a:t>
            </a:r>
            <a:r>
              <a:rPr lang="de-DE" dirty="0"/>
              <a:t> Level</a:t>
            </a:r>
          </a:p>
          <a:p>
            <a:pPr lvl="6"/>
            <a:r>
              <a:rPr lang="de-DE" dirty="0" err="1"/>
              <a:t>Seventh</a:t>
            </a:r>
            <a:r>
              <a:rPr lang="de-DE" dirty="0"/>
              <a:t> Level</a:t>
            </a:r>
          </a:p>
          <a:p>
            <a:pPr lvl="7"/>
            <a:r>
              <a:rPr lang="de-DE" dirty="0" err="1"/>
              <a:t>Eighth</a:t>
            </a:r>
            <a:r>
              <a:rPr lang="de-DE" dirty="0"/>
              <a:t> Level</a:t>
            </a:r>
          </a:p>
          <a:p>
            <a:pPr lvl="8"/>
            <a:r>
              <a:rPr lang="de-DE" dirty="0" err="1"/>
              <a:t>Ninth</a:t>
            </a:r>
            <a:r>
              <a:rPr lang="de-DE" dirty="0"/>
              <a:t> Level</a:t>
            </a:r>
          </a:p>
        </p:txBody>
      </p:sp>
      <p:sp>
        <p:nvSpPr>
          <p:cNvPr id="77" name="Textfeld 76"/>
          <p:cNvSpPr txBox="1"/>
          <p:nvPr userDrawn="1"/>
        </p:nvSpPr>
        <p:spPr>
          <a:xfrm>
            <a:off x="10412349" y="6149685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/>
            <a:fld id="{FAAB48A4-D341-4AE9-8566-EA7878570C6A}" type="slidenum">
              <a:rPr lang="de-DE" sz="900" b="1" i="0" smtClean="0">
                <a:solidFill>
                  <a:srgbClr val="3A9BF3"/>
                </a:solidFill>
                <a:latin typeface="Montserrat" pitchFamily="2" charset="77"/>
                <a:ea typeface="Typold Book" panose="020B0004030204060B03" pitchFamily="34" charset="0"/>
              </a:rPr>
              <a:pPr algn="r"/>
              <a:t>‹Nº›</a:t>
            </a:fld>
            <a:endParaRPr lang="en-US" sz="900" b="1" i="0" dirty="0">
              <a:solidFill>
                <a:srgbClr val="3A9BF3"/>
              </a:solidFill>
              <a:latin typeface="Montserrat" pitchFamily="2" charset="77"/>
              <a:ea typeface="Typold Book" panose="020B0004030204060B03" pitchFamily="34" charset="0"/>
            </a:endParaRPr>
          </a:p>
        </p:txBody>
      </p:sp>
      <p:grpSp>
        <p:nvGrpSpPr>
          <p:cNvPr id="138" name="Gruppieren 137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39" name="Gruppieren 138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66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0" name="Gruppieren 139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59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1" name="Gruppieren 140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51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2" name="Gruppieren 141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43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3" name="Titelplatzhalter 1">
            <a:extLst>
              <a:ext uri="{FF2B5EF4-FFF2-40B4-BE49-F238E27FC236}">
                <a16:creationId xmlns:a16="http://schemas.microsoft.com/office/drawing/2014/main" id="{2CE2C321-820B-44F0-91B6-851AE3C277D4}"/>
              </a:ext>
            </a:extLst>
          </p:cNvPr>
          <p:cNvSpPr txBox="1">
            <a:spLocks/>
          </p:cNvSpPr>
          <p:nvPr userDrawn="1"/>
        </p:nvSpPr>
        <p:spPr>
          <a:xfrm>
            <a:off x="444373" y="413152"/>
            <a:ext cx="10944225" cy="78451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baseline="0">
                <a:solidFill>
                  <a:srgbClr val="004750"/>
                </a:solidFill>
                <a:latin typeface="FlexoSoft" panose="02000000000000000000" pitchFamily="2" charset="0"/>
                <a:ea typeface="Typold Book" panose="020B0004030204060B03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792883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8" r:id="rId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baseline="0">
          <a:solidFill>
            <a:srgbClr val="004750"/>
          </a:solidFill>
          <a:latin typeface="FlexoSoft" panose="02000000000000000000" pitchFamily="2" charset="0"/>
          <a:ea typeface="Typold Book" panose="020B0004030204060B03" pitchFamily="34" charset="0"/>
          <a:cs typeface="Arial" panose="020B0604020202020204" pitchFamily="34" charset="0"/>
        </a:defRPr>
      </a:lvl1pPr>
    </p:titleStyle>
    <p:bodyStyle>
      <a:lvl1pPr marL="0" indent="0" algn="l" defTabSz="457200" rtl="0" eaLnBrk="1" latinLnBrk="0" hangingPunct="1">
        <a:lnSpc>
          <a:spcPct val="104000"/>
        </a:lnSpc>
        <a:spcBef>
          <a:spcPts val="1200"/>
        </a:spcBef>
        <a:buFont typeface="Arial" panose="020B0604020202020204" pitchFamily="34" charset="0"/>
        <a:buNone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180000" indent="-180000" algn="l" defTabSz="457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anose="05020102010507070707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360000" indent="-180000" algn="l" defTabSz="439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anose="05020102010507070707" pitchFamily="18" charset="2"/>
        <a:buChar char="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561600" indent="-180000" algn="l" defTabSz="457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anose="05020102010507070707" pitchFamily="18" charset="2"/>
        <a:buChar char="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756000" indent="-180000" algn="l" defTabSz="457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anose="05020102010507070707" pitchFamily="18" charset="2"/>
        <a:buChar char="¡"/>
        <a:defRPr sz="1200" kern="1200" baseline="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931863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6pPr>
      <a:lvl7pPr marL="1090613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7pPr>
      <a:lvl8pPr marL="1281113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8pPr>
      <a:lvl9pPr marL="1474788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1BEB4B4-9E8B-5903-E2EB-A9A57C63C0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499" y="413152"/>
            <a:ext cx="10944225" cy="784516"/>
          </a:xfrm>
        </p:spPr>
        <p:txBody>
          <a:bodyPr/>
          <a:lstStyle/>
          <a:p>
            <a:r>
              <a:rPr lang="es-ES" dirty="0" err="1"/>
              <a:t>Agreement</a:t>
            </a:r>
            <a:r>
              <a:rPr lang="es-ES" dirty="0"/>
              <a:t> </a:t>
            </a:r>
            <a:r>
              <a:rPr lang="es-ES" dirty="0" err="1"/>
              <a:t>Scope</a:t>
            </a:r>
            <a:endParaRPr lang="es-ES" dirty="0"/>
          </a:p>
        </p:txBody>
      </p:sp>
      <p:graphicFrame>
        <p:nvGraphicFramePr>
          <p:cNvPr id="4" name="Tabla 4">
            <a:extLst>
              <a:ext uri="{FF2B5EF4-FFF2-40B4-BE49-F238E27FC236}">
                <a16:creationId xmlns:a16="http://schemas.microsoft.com/office/drawing/2014/main" id="{C19B91CA-4CFB-7489-8663-A8A1E1C561DE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2389572240"/>
              </p:ext>
            </p:extLst>
          </p:nvPr>
        </p:nvGraphicFramePr>
        <p:xfrm>
          <a:off x="349950" y="1665282"/>
          <a:ext cx="10944224" cy="472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5436">
                  <a:extLst>
                    <a:ext uri="{9D8B030D-6E8A-4147-A177-3AD203B41FA5}">
                      <a16:colId xmlns:a16="http://schemas.microsoft.com/office/drawing/2014/main" val="270003828"/>
                    </a:ext>
                  </a:extLst>
                </a:gridCol>
                <a:gridCol w="5079231">
                  <a:extLst>
                    <a:ext uri="{9D8B030D-6E8A-4147-A177-3AD203B41FA5}">
                      <a16:colId xmlns:a16="http://schemas.microsoft.com/office/drawing/2014/main" val="210948001"/>
                    </a:ext>
                  </a:extLst>
                </a:gridCol>
                <a:gridCol w="2072419">
                  <a:extLst>
                    <a:ext uri="{9D8B030D-6E8A-4147-A177-3AD203B41FA5}">
                      <a16:colId xmlns:a16="http://schemas.microsoft.com/office/drawing/2014/main" val="574257141"/>
                    </a:ext>
                  </a:extLst>
                </a:gridCol>
                <a:gridCol w="1807138">
                  <a:extLst>
                    <a:ext uri="{9D8B030D-6E8A-4147-A177-3AD203B41FA5}">
                      <a16:colId xmlns:a16="http://schemas.microsoft.com/office/drawing/2014/main" val="15903825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ES" dirty="0" err="1"/>
                        <a:t>Item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err="1"/>
                        <a:t>Description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err="1"/>
                        <a:t>Required</a:t>
                      </a:r>
                      <a:r>
                        <a:rPr lang="es-ES" dirty="0"/>
                        <a:t> </a:t>
                      </a:r>
                      <a:r>
                        <a:rPr lang="es-ES" dirty="0" err="1"/>
                        <a:t>for</a:t>
                      </a:r>
                      <a:r>
                        <a:rPr lang="es-ES" dirty="0"/>
                        <a:t> </a:t>
                      </a:r>
                      <a:r>
                        <a:rPr lang="es-ES" dirty="0" err="1"/>
                        <a:t>Agreement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err="1"/>
                        <a:t>Agreed</a:t>
                      </a:r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74582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800" dirty="0" err="1"/>
                        <a:t>Support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of</a:t>
                      </a:r>
                      <a:r>
                        <a:rPr lang="es-ES" sz="800" dirty="0"/>
                        <a:t> OTP </a:t>
                      </a:r>
                      <a:r>
                        <a:rPr lang="es-ES" sz="800" dirty="0" err="1"/>
                        <a:t>validation</a:t>
                      </a:r>
                      <a:r>
                        <a:rPr lang="es-ES" sz="800" dirty="0"/>
                        <a:t> UR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dirty="0" err="1"/>
                        <a:t>Support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of</a:t>
                      </a:r>
                      <a:r>
                        <a:rPr lang="es-ES" sz="800" dirty="0"/>
                        <a:t> OTP </a:t>
                      </a:r>
                      <a:r>
                        <a:rPr lang="es-ES" sz="800" dirty="0" err="1"/>
                        <a:t>validation</a:t>
                      </a:r>
                      <a:r>
                        <a:rPr lang="es-ES" sz="800" dirty="0"/>
                        <a:t> URL in </a:t>
                      </a:r>
                      <a:r>
                        <a:rPr lang="es-ES" sz="800" dirty="0" err="1"/>
                        <a:t>Payment</a:t>
                      </a:r>
                      <a:r>
                        <a:rPr lang="es-ES" sz="800" dirty="0"/>
                        <a:t> (1-step, 2-step) respons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8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dirty="0" err="1"/>
                        <a:t>Endpoints</a:t>
                      </a:r>
                      <a:r>
                        <a:rPr lang="es-ES" sz="800" dirty="0"/>
                        <a:t>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ST /</a:t>
                      </a:r>
                      <a:r>
                        <a:rPr lang="es-ES" sz="800" b="1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ments</a:t>
                      </a:r>
                      <a:endParaRPr lang="es-ES" sz="800" b="1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ST /</a:t>
                      </a:r>
                      <a:r>
                        <a:rPr lang="es-ES" sz="800" b="1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ments</a:t>
                      </a:r>
                      <a:r>
                        <a:rPr lang="es-ES" sz="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prepare</a:t>
                      </a:r>
                      <a:endParaRPr lang="es-ES" sz="8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8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800" dirty="0"/>
                        <a:t>YES (</a:t>
                      </a:r>
                      <a:r>
                        <a:rPr lang="es-ES" sz="800" dirty="0" err="1"/>
                        <a:t>adding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it</a:t>
                      </a:r>
                      <a:r>
                        <a:rPr lang="es-ES" sz="800" dirty="0"/>
                        <a:t> as </a:t>
                      </a:r>
                      <a:r>
                        <a:rPr lang="es-ES" sz="800" dirty="0" err="1"/>
                        <a:t>optional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parameter</a:t>
                      </a:r>
                      <a:r>
                        <a:rPr lang="es-ES" sz="800" dirty="0"/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27266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dirty="0"/>
                        <a:t>Support various concepts/items with price, currency and taxes, and a total price.</a:t>
                      </a:r>
                      <a:endParaRPr lang="es-E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800" dirty="0" err="1"/>
                        <a:t>Provide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the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same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flexibility</a:t>
                      </a:r>
                      <a:r>
                        <a:rPr lang="es-ES" sz="800" dirty="0"/>
                        <a:t> as per Carrier </a:t>
                      </a:r>
                      <a:r>
                        <a:rPr lang="es-ES" sz="800" dirty="0" err="1"/>
                        <a:t>Billing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Checkout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proposal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within</a:t>
                      </a:r>
                      <a:r>
                        <a:rPr lang="es-ES" sz="800" dirty="0"/>
                        <a:t> “</a:t>
                      </a:r>
                      <a:r>
                        <a:rPr lang="es-ES" sz="800" dirty="0" err="1"/>
                        <a:t>order</a:t>
                      </a:r>
                      <a:r>
                        <a:rPr lang="es-ES" sz="800" dirty="0"/>
                        <a:t>” conce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8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800" dirty="0"/>
                        <a:t>In </a:t>
                      </a:r>
                      <a:r>
                        <a:rPr lang="es-ES" sz="800" dirty="0" err="1"/>
                        <a:t>principle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seen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feasible</a:t>
                      </a:r>
                      <a:r>
                        <a:rPr lang="es-ES" sz="800" dirty="0"/>
                        <a:t>.</a:t>
                      </a:r>
                      <a:br>
                        <a:rPr lang="es-ES" sz="800" dirty="0"/>
                      </a:br>
                      <a:r>
                        <a:rPr lang="es-ES" sz="800" dirty="0" err="1"/>
                        <a:t>Need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to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check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if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optional</a:t>
                      </a:r>
                      <a:r>
                        <a:rPr lang="es-ES" sz="800" dirty="0"/>
                        <a:t> (TEF)</a:t>
                      </a:r>
                    </a:p>
                    <a:p>
                      <a:r>
                        <a:rPr lang="es-ES" sz="800" dirty="0" err="1"/>
                        <a:t>Need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to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check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if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taxes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have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to</a:t>
                      </a:r>
                      <a:r>
                        <a:rPr lang="es-ES" sz="800" dirty="0"/>
                        <a:t> be </a:t>
                      </a:r>
                      <a:r>
                        <a:rPr lang="es-ES" sz="800" dirty="0" err="1"/>
                        <a:t>associated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to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each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partial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amount</a:t>
                      </a:r>
                      <a:endParaRPr lang="es-ES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56604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800" dirty="0" err="1"/>
                        <a:t>Enhance</a:t>
                      </a:r>
                      <a:r>
                        <a:rPr lang="es-ES" sz="800" dirty="0"/>
                        <a:t> Merchant </a:t>
                      </a:r>
                      <a:r>
                        <a:rPr lang="es-ES" sz="800" dirty="0" err="1"/>
                        <a:t>Information</a:t>
                      </a:r>
                      <a:endParaRPr lang="es-E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800" dirty="0" err="1"/>
                        <a:t>Enhance</a:t>
                      </a:r>
                      <a:r>
                        <a:rPr lang="es-ES" sz="800" dirty="0"/>
                        <a:t> Merchant </a:t>
                      </a:r>
                      <a:r>
                        <a:rPr lang="es-ES" sz="800" dirty="0" err="1"/>
                        <a:t>informaton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with</a:t>
                      </a:r>
                      <a:r>
                        <a:rPr lang="es-ES" sz="800" dirty="0"/>
                        <a:t> (id, </a:t>
                      </a:r>
                      <a:r>
                        <a:rPr lang="es-ES" sz="800" dirty="0" err="1"/>
                        <a:t>name</a:t>
                      </a:r>
                      <a:r>
                        <a:rPr lang="es-ES" sz="800" dirty="0"/>
                        <a:t>, fe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8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800" dirty="0"/>
                        <a:t>In </a:t>
                      </a:r>
                      <a:r>
                        <a:rPr lang="es-ES" sz="800" dirty="0" err="1"/>
                        <a:t>principle</a:t>
                      </a:r>
                      <a:r>
                        <a:rPr lang="es-ES" sz="800" dirty="0"/>
                        <a:t>, YES </a:t>
                      </a:r>
                      <a:r>
                        <a:rPr lang="es-ES" sz="800" dirty="0" err="1"/>
                        <a:t>need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to</a:t>
                      </a:r>
                      <a:r>
                        <a:rPr lang="es-ES" sz="800" dirty="0"/>
                        <a:t> do </a:t>
                      </a:r>
                      <a:r>
                        <a:rPr lang="es-ES" sz="800" dirty="0" err="1"/>
                        <a:t>assesment</a:t>
                      </a:r>
                      <a:r>
                        <a:rPr lang="es-ES" sz="800" dirty="0"/>
                        <a:t>. Orange </a:t>
                      </a:r>
                      <a:r>
                        <a:rPr lang="es-ES" sz="800" dirty="0" err="1"/>
                        <a:t>does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not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see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initial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problem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if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they</a:t>
                      </a:r>
                      <a:r>
                        <a:rPr lang="es-ES" sz="800" dirty="0"/>
                        <a:t> are </a:t>
                      </a:r>
                      <a:r>
                        <a:rPr lang="es-ES" sz="800" dirty="0" err="1"/>
                        <a:t>accomodated</a:t>
                      </a:r>
                      <a:r>
                        <a:rPr lang="es-ES" sz="800" dirty="0"/>
                        <a:t> as </a:t>
                      </a:r>
                      <a:r>
                        <a:rPr lang="es-ES" sz="800" dirty="0" err="1"/>
                        <a:t>optional</a:t>
                      </a:r>
                      <a:r>
                        <a:rPr lang="es-ES" sz="800" dirty="0"/>
                        <a:t>.</a:t>
                      </a:r>
                    </a:p>
                    <a:p>
                      <a:r>
                        <a:rPr lang="es-ES" sz="800" dirty="0" err="1"/>
                        <a:t>Merchnat_id</a:t>
                      </a:r>
                      <a:r>
                        <a:rPr lang="es-ES" sz="800" dirty="0"/>
                        <a:t> -&gt; </a:t>
                      </a:r>
                      <a:r>
                        <a:rPr lang="es-ES" sz="800" dirty="0" err="1"/>
                        <a:t>onBehalf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Of</a:t>
                      </a:r>
                      <a:endParaRPr lang="es-ES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46843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800" dirty="0"/>
                        <a:t>“</a:t>
                      </a:r>
                      <a:r>
                        <a:rPr lang="es-ES" sz="800" dirty="0" err="1"/>
                        <a:t>endUserId</a:t>
                      </a:r>
                      <a:r>
                        <a:rPr lang="es-ES" sz="800" dirty="0"/>
                        <a:t>” </a:t>
                      </a:r>
                      <a:r>
                        <a:rPr lang="es-ES" sz="800" dirty="0" err="1"/>
                        <a:t>removal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of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Payment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Confirm</a:t>
                      </a:r>
                      <a:r>
                        <a:rPr lang="es-ES" sz="800" dirty="0"/>
                        <a:t>/Cancel </a:t>
                      </a:r>
                      <a:r>
                        <a:rPr lang="es-ES" sz="800" dirty="0" err="1"/>
                        <a:t>Process</a:t>
                      </a:r>
                      <a:endParaRPr lang="es-E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800" dirty="0" err="1"/>
                        <a:t>To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remove</a:t>
                      </a:r>
                      <a:r>
                        <a:rPr lang="es-ES" sz="800" dirty="0"/>
                        <a:t> “</a:t>
                      </a:r>
                      <a:r>
                        <a:rPr lang="es-ES" sz="800" dirty="0" err="1"/>
                        <a:t>endUserId</a:t>
                      </a:r>
                      <a:r>
                        <a:rPr lang="es-ES" sz="800" dirty="0"/>
                        <a:t>” </a:t>
                      </a:r>
                      <a:r>
                        <a:rPr lang="es-ES" sz="800" dirty="0" err="1"/>
                        <a:t>request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body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param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of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Payment</a:t>
                      </a:r>
                      <a:r>
                        <a:rPr lang="es-ES" sz="800" dirty="0"/>
                        <a:t> (2-setp) </a:t>
                      </a:r>
                      <a:r>
                        <a:rPr lang="es-ES" sz="800" dirty="0" err="1"/>
                        <a:t>Confirm</a:t>
                      </a:r>
                      <a:r>
                        <a:rPr lang="es-ES" sz="800" dirty="0"/>
                        <a:t>/Cancel </a:t>
                      </a:r>
                      <a:r>
                        <a:rPr lang="es-ES" sz="800" dirty="0" err="1"/>
                        <a:t>process</a:t>
                      </a:r>
                      <a:r>
                        <a:rPr lang="es-ES" sz="800" dirty="0"/>
                        <a:t>, as </a:t>
                      </a:r>
                      <a:r>
                        <a:rPr lang="es-ES" sz="800" dirty="0" err="1"/>
                        <a:t>being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redundant</a:t>
                      </a:r>
                      <a:endParaRPr lang="es-ES" sz="800" dirty="0"/>
                    </a:p>
                    <a:p>
                      <a:endParaRPr lang="es-ES" sz="800" dirty="0"/>
                    </a:p>
                    <a:p>
                      <a:r>
                        <a:rPr lang="es-ES" sz="800" dirty="0" err="1"/>
                        <a:t>Endpoint</a:t>
                      </a:r>
                      <a:r>
                        <a:rPr lang="es-ES" sz="800" dirty="0"/>
                        <a:t>:</a:t>
                      </a:r>
                    </a:p>
                    <a:p>
                      <a:r>
                        <a:rPr lang="es-ES" sz="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ST /</a:t>
                      </a:r>
                      <a:r>
                        <a:rPr lang="es-ES" sz="800" b="1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ments</a:t>
                      </a:r>
                      <a:r>
                        <a:rPr lang="es-ES" sz="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{</a:t>
                      </a:r>
                      <a:r>
                        <a:rPr lang="es-ES" sz="800" b="1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mentId</a:t>
                      </a:r>
                      <a:r>
                        <a:rPr lang="es-ES" sz="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/</a:t>
                      </a:r>
                      <a:r>
                        <a:rPr lang="es-ES" sz="800" b="1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firm</a:t>
                      </a:r>
                      <a:endParaRPr lang="es-ES" sz="800" b="1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s-ES" sz="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ST /</a:t>
                      </a:r>
                      <a:r>
                        <a:rPr lang="es-ES" sz="800" b="1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ments</a:t>
                      </a:r>
                      <a:r>
                        <a:rPr lang="es-ES" sz="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{</a:t>
                      </a:r>
                      <a:r>
                        <a:rPr lang="es-ES" sz="800" b="1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mentId</a:t>
                      </a:r>
                      <a:r>
                        <a:rPr lang="es-ES" sz="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/cancel</a:t>
                      </a:r>
                      <a:endParaRPr lang="es-E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800" dirty="0"/>
                        <a:t>NO (can be </a:t>
                      </a:r>
                      <a:r>
                        <a:rPr lang="es-ES" sz="800" dirty="0" err="1"/>
                        <a:t>discussed</a:t>
                      </a:r>
                      <a:r>
                        <a:rPr lang="es-ES" sz="8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800" dirty="0"/>
                        <a:t>Orange </a:t>
                      </a:r>
                      <a:r>
                        <a:rPr lang="es-ES" sz="800" dirty="0" err="1"/>
                        <a:t>needs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to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check</a:t>
                      </a:r>
                      <a:r>
                        <a:rPr lang="es-ES" sz="800" dirty="0"/>
                        <a:t>. </a:t>
                      </a:r>
                      <a:r>
                        <a:rPr lang="es-ES" sz="800" dirty="0" err="1"/>
                        <a:t>Check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internally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if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there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is</a:t>
                      </a:r>
                      <a:r>
                        <a:rPr lang="es-ES" sz="800" dirty="0"/>
                        <a:t> a </a:t>
                      </a:r>
                      <a:r>
                        <a:rPr lang="es-ES" sz="800" dirty="0" err="1"/>
                        <a:t>security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constrain</a:t>
                      </a:r>
                      <a:r>
                        <a:rPr lang="es-ES" sz="800" dirty="0"/>
                        <a:t>/</a:t>
                      </a:r>
                      <a:r>
                        <a:rPr lang="es-ES" sz="800" dirty="0" err="1"/>
                        <a:t>requirement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under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it</a:t>
                      </a:r>
                      <a:r>
                        <a:rPr lang="es-ES" sz="800" dirty="0"/>
                        <a:t>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73388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800" dirty="0"/>
                        <a:t>API </a:t>
                      </a:r>
                      <a:r>
                        <a:rPr lang="es-ES" sz="800" dirty="0" err="1"/>
                        <a:t>Evolution</a:t>
                      </a:r>
                      <a:endParaRPr lang="es-E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800" dirty="0"/>
                        <a:t>Orange </a:t>
                      </a:r>
                      <a:r>
                        <a:rPr lang="es-ES" sz="800" dirty="0" err="1"/>
                        <a:t>proposal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is</a:t>
                      </a:r>
                      <a:r>
                        <a:rPr lang="es-ES" sz="800" dirty="0"/>
                        <a:t> OMA </a:t>
                      </a:r>
                      <a:r>
                        <a:rPr lang="es-ES" sz="800" dirty="0" err="1"/>
                        <a:t>inspired</a:t>
                      </a:r>
                      <a:r>
                        <a:rPr lang="es-ES" sz="800" dirty="0"/>
                        <a:t>/</a:t>
                      </a:r>
                      <a:r>
                        <a:rPr lang="es-ES" sz="800" dirty="0" err="1"/>
                        <a:t>based</a:t>
                      </a:r>
                      <a:r>
                        <a:rPr lang="es-ES" sz="800" dirty="0"/>
                        <a:t>. </a:t>
                      </a:r>
                      <a:r>
                        <a:rPr lang="en-US" sz="800" dirty="0"/>
                        <a:t>Fine with these approach, but evolution of CAMARA Carrier Billing should be possible based on </a:t>
                      </a:r>
                      <a:r>
                        <a:rPr lang="en-US" sz="800" dirty="0" err="1"/>
                        <a:t>OpenGateway</a:t>
                      </a:r>
                      <a:r>
                        <a:rPr lang="en-US" sz="800" dirty="0"/>
                        <a:t> upcoming requirements and evolution should not be limited to have equivalent in OMA</a:t>
                      </a:r>
                      <a:endParaRPr lang="es-E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8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800" dirty="0"/>
                        <a:t>AGREED. </a:t>
                      </a:r>
                      <a:r>
                        <a:rPr lang="es-ES" sz="800" dirty="0" err="1"/>
                        <a:t>Fair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solution</a:t>
                      </a:r>
                      <a:r>
                        <a:rPr lang="es-ES" sz="800" dirty="0"/>
                        <a:t>. </a:t>
                      </a:r>
                      <a:r>
                        <a:rPr lang="es-ES" sz="800" dirty="0" err="1"/>
                        <a:t>If</a:t>
                      </a:r>
                      <a:r>
                        <a:rPr lang="es-ES" sz="800" dirty="0"/>
                        <a:t> OMA </a:t>
                      </a:r>
                      <a:r>
                        <a:rPr lang="es-ES" sz="800" dirty="0" err="1"/>
                        <a:t>provides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solution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good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to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consider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but</a:t>
                      </a:r>
                      <a:r>
                        <a:rPr lang="es-ES" sz="800" dirty="0"/>
                        <a:t> open </a:t>
                      </a:r>
                      <a:r>
                        <a:rPr lang="es-ES" sz="800" dirty="0" err="1"/>
                        <a:t>wide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mind</a:t>
                      </a:r>
                      <a:r>
                        <a:rPr lang="es-ES" sz="800" dirty="0"/>
                        <a:t>.</a:t>
                      </a:r>
                      <a:br>
                        <a:rPr lang="es-ES" sz="800" dirty="0"/>
                      </a:br>
                      <a:r>
                        <a:rPr lang="es-ES" sz="800" dirty="0" err="1"/>
                        <a:t>Agreed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that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is</a:t>
                      </a:r>
                      <a:r>
                        <a:rPr lang="es-ES" sz="800" dirty="0"/>
                        <a:t> CAMARA API and </a:t>
                      </a:r>
                      <a:r>
                        <a:rPr lang="es-ES" sz="800" dirty="0" err="1"/>
                        <a:t>we</a:t>
                      </a:r>
                      <a:r>
                        <a:rPr lang="es-ES" sz="800" dirty="0"/>
                        <a:t> can </a:t>
                      </a:r>
                      <a:r>
                        <a:rPr lang="es-ES" sz="800" dirty="0" err="1"/>
                        <a:t>provide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the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best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solution</a:t>
                      </a:r>
                      <a:r>
                        <a:rPr lang="es-ES" sz="800" dirty="0"/>
                        <a:t> as posibl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63177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800" dirty="0"/>
                        <a:t>API </a:t>
                      </a:r>
                      <a:r>
                        <a:rPr lang="es-ES" sz="800" dirty="0" err="1"/>
                        <a:t>Basepath</a:t>
                      </a:r>
                      <a:endParaRPr lang="es-E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800" dirty="0" err="1"/>
                        <a:t>Given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that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we</a:t>
                      </a:r>
                      <a:r>
                        <a:rPr lang="es-ES" sz="800" dirty="0"/>
                        <a:t> are </a:t>
                      </a:r>
                      <a:r>
                        <a:rPr lang="es-ES" sz="800" dirty="0" err="1"/>
                        <a:t>going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to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have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one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proposal</a:t>
                      </a:r>
                      <a:r>
                        <a:rPr lang="es-ES" sz="800" dirty="0"/>
                        <a:t>. </a:t>
                      </a:r>
                      <a:r>
                        <a:rPr lang="es-ES" sz="800" dirty="0" err="1"/>
                        <a:t>Rename</a:t>
                      </a:r>
                      <a:r>
                        <a:rPr lang="es-ES" sz="800" dirty="0"/>
                        <a:t> API </a:t>
                      </a:r>
                      <a:r>
                        <a:rPr lang="es-ES" sz="800" dirty="0" err="1"/>
                        <a:t>basepath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to</a:t>
                      </a:r>
                      <a:r>
                        <a:rPr lang="es-ES" sz="800" dirty="0"/>
                        <a:t> “</a:t>
                      </a:r>
                      <a:r>
                        <a:rPr lang="es-ES" sz="800" dirty="0" err="1"/>
                        <a:t>carrier-billing</a:t>
                      </a:r>
                      <a:r>
                        <a:rPr lang="es-ES" sz="800" dirty="0"/>
                        <a:t>”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800" dirty="0"/>
                        <a:t>NO (</a:t>
                      </a:r>
                      <a:r>
                        <a:rPr lang="es-ES" sz="800" dirty="0" err="1"/>
                        <a:t>Although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we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highly</a:t>
                      </a:r>
                      <a:r>
                        <a:rPr lang="es-ES" sz="800" dirty="0"/>
                        <a:t> </a:t>
                      </a:r>
                      <a:r>
                        <a:rPr lang="es-ES" sz="800" dirty="0" err="1"/>
                        <a:t>recommend</a:t>
                      </a:r>
                      <a:r>
                        <a:rPr lang="es-ES" sz="800" dirty="0"/>
                        <a:t> as </a:t>
                      </a:r>
                      <a:r>
                        <a:rPr lang="es-ES" sz="800" dirty="0" err="1"/>
                        <a:t>an</a:t>
                      </a:r>
                      <a:r>
                        <a:rPr lang="es-ES" sz="800" dirty="0"/>
                        <a:t>  </a:t>
                      </a:r>
                      <a:r>
                        <a:rPr lang="es-ES" sz="800" dirty="0" err="1"/>
                        <a:t>enforcement</a:t>
                      </a:r>
                      <a:r>
                        <a:rPr lang="es-ES" sz="800"/>
                        <a:t>, </a:t>
                      </a:r>
                      <a:r>
                        <a:rPr lang="es-ES" sz="800" dirty="0" err="1"/>
                        <a:t>given</a:t>
                      </a:r>
                      <a:r>
                        <a:rPr lang="es-ES" sz="800" dirty="0"/>
                        <a:t> CAMARA WG </a:t>
                      </a:r>
                      <a:r>
                        <a:rPr lang="es-ES" sz="800" dirty="0" err="1"/>
                        <a:t>scope</a:t>
                      </a:r>
                      <a:r>
                        <a:rPr lang="es-ES" sz="8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800" dirty="0"/>
                        <a:t>AGRE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6004541"/>
                  </a:ext>
                </a:extLst>
              </a:tr>
            </a:tbl>
          </a:graphicData>
        </a:graphic>
      </p:graphicFrame>
      <p:sp>
        <p:nvSpPr>
          <p:cNvPr id="5" name="CuadroTexto 4">
            <a:extLst>
              <a:ext uri="{FF2B5EF4-FFF2-40B4-BE49-F238E27FC236}">
                <a16:creationId xmlns:a16="http://schemas.microsoft.com/office/drawing/2014/main" id="{A9248950-768A-D2E7-4667-16FD47C004C5}"/>
              </a:ext>
            </a:extLst>
          </p:cNvPr>
          <p:cNvSpPr txBox="1"/>
          <p:nvPr/>
        </p:nvSpPr>
        <p:spPr>
          <a:xfrm>
            <a:off x="237768" y="865063"/>
            <a:ext cx="11168588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dirty="0" err="1"/>
              <a:t>Summary</a:t>
            </a:r>
            <a:endParaRPr lang="es-E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400" dirty="0" err="1"/>
              <a:t>Points</a:t>
            </a:r>
            <a:r>
              <a:rPr lang="es-ES" sz="1400" dirty="0"/>
              <a:t> </a:t>
            </a:r>
            <a:r>
              <a:rPr lang="es-ES" sz="1400" dirty="0" err="1"/>
              <a:t>to</a:t>
            </a:r>
            <a:r>
              <a:rPr lang="es-ES" sz="1400" dirty="0"/>
              <a:t> be </a:t>
            </a:r>
            <a:r>
              <a:rPr lang="es-ES" sz="1400" dirty="0" err="1"/>
              <a:t>agreed</a:t>
            </a:r>
            <a:r>
              <a:rPr lang="es-ES" sz="1400" dirty="0"/>
              <a:t> </a:t>
            </a:r>
            <a:r>
              <a:rPr lang="es-ES" sz="1400" dirty="0" err="1"/>
              <a:t>with</a:t>
            </a:r>
            <a:r>
              <a:rPr lang="es-ES" sz="1400" dirty="0"/>
              <a:t> Ora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400" dirty="0" err="1"/>
              <a:t>If</a:t>
            </a:r>
            <a:r>
              <a:rPr lang="es-ES" sz="1400" dirty="0"/>
              <a:t> </a:t>
            </a:r>
            <a:r>
              <a:rPr lang="es-ES" sz="1400" dirty="0" err="1"/>
              <a:t>all</a:t>
            </a:r>
            <a:r>
              <a:rPr lang="es-ES" sz="1400" dirty="0"/>
              <a:t> </a:t>
            </a:r>
            <a:r>
              <a:rPr lang="es-ES" sz="1400" dirty="0" err="1"/>
              <a:t>required</a:t>
            </a:r>
            <a:r>
              <a:rPr lang="es-ES" sz="1400" dirty="0"/>
              <a:t> </a:t>
            </a:r>
            <a:r>
              <a:rPr lang="es-ES" sz="1400" dirty="0" err="1"/>
              <a:t>points</a:t>
            </a:r>
            <a:r>
              <a:rPr lang="es-ES" sz="1400" dirty="0"/>
              <a:t> are </a:t>
            </a:r>
            <a:r>
              <a:rPr lang="es-ES" sz="1400" dirty="0" err="1"/>
              <a:t>agreed</a:t>
            </a:r>
            <a:r>
              <a:rPr lang="es-ES" sz="1400" dirty="0"/>
              <a:t>. </a:t>
            </a:r>
            <a:r>
              <a:rPr lang="es-ES" sz="1400" dirty="0" err="1"/>
              <a:t>Telefonica</a:t>
            </a:r>
            <a:r>
              <a:rPr lang="es-ES" sz="1400" dirty="0"/>
              <a:t> </a:t>
            </a:r>
            <a:r>
              <a:rPr lang="es-ES" sz="1400" dirty="0" err="1"/>
              <a:t>is</a:t>
            </a:r>
            <a:r>
              <a:rPr lang="es-ES" sz="1400" dirty="0"/>
              <a:t> </a:t>
            </a:r>
            <a:r>
              <a:rPr lang="es-ES" sz="1400" dirty="0" err="1"/>
              <a:t>willing</a:t>
            </a:r>
            <a:r>
              <a:rPr lang="es-ES" sz="1400" dirty="0"/>
              <a:t> </a:t>
            </a:r>
            <a:r>
              <a:rPr lang="es-ES" sz="1400" dirty="0" err="1"/>
              <a:t>to</a:t>
            </a:r>
            <a:r>
              <a:rPr lang="es-ES" sz="1400" dirty="0"/>
              <a:t> retire </a:t>
            </a:r>
            <a:r>
              <a:rPr lang="es-ES" sz="1400" dirty="0" err="1"/>
              <a:t>its</a:t>
            </a:r>
            <a:r>
              <a:rPr lang="es-ES" sz="1400" dirty="0"/>
              <a:t> </a:t>
            </a:r>
            <a:r>
              <a:rPr lang="es-ES" sz="1400" dirty="0" err="1"/>
              <a:t>proposal</a:t>
            </a:r>
            <a:r>
              <a:rPr lang="es-ES" sz="1400" dirty="0"/>
              <a:t> and continue/</a:t>
            </a:r>
            <a:r>
              <a:rPr lang="es-ES" sz="1400" dirty="0" err="1"/>
              <a:t>evolved</a:t>
            </a:r>
            <a:r>
              <a:rPr lang="es-ES" sz="1400" dirty="0"/>
              <a:t> from </a:t>
            </a:r>
            <a:r>
              <a:rPr lang="es-ES" sz="1400" dirty="0" err="1"/>
              <a:t>the</a:t>
            </a:r>
            <a:r>
              <a:rPr lang="es-ES" sz="1400" dirty="0"/>
              <a:t> </a:t>
            </a:r>
            <a:r>
              <a:rPr lang="es-ES" sz="1400" dirty="0" err="1"/>
              <a:t>proposal</a:t>
            </a:r>
            <a:r>
              <a:rPr lang="es-ES" sz="1400" dirty="0"/>
              <a:t> </a:t>
            </a:r>
            <a:r>
              <a:rPr lang="es-ES" sz="1400" dirty="0" err="1"/>
              <a:t>presented</a:t>
            </a:r>
            <a:r>
              <a:rPr lang="es-ES" sz="1400" dirty="0"/>
              <a:t> </a:t>
            </a:r>
            <a:r>
              <a:rPr lang="es-ES" sz="1400" dirty="0" err="1"/>
              <a:t>by</a:t>
            </a:r>
            <a:r>
              <a:rPr lang="es-ES" sz="1400" dirty="0"/>
              <a:t> Orange</a:t>
            </a:r>
          </a:p>
        </p:txBody>
      </p:sp>
    </p:spTree>
    <p:extLst>
      <p:ext uri="{BB962C8B-B14F-4D97-AF65-F5344CB8AC3E}">
        <p14:creationId xmlns:p14="http://schemas.microsoft.com/office/powerpoint/2010/main" val="6604805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80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tecon_Master">
  <a:themeElements>
    <a:clrScheme name="2FB8AE">
      <a:dk1>
        <a:srgbClr val="000000"/>
      </a:dk1>
      <a:lt1>
        <a:srgbClr val="FFFFFF"/>
      </a:lt1>
      <a:dk2>
        <a:srgbClr val="404041"/>
      </a:dk2>
      <a:lt2>
        <a:srgbClr val="EEEEEE"/>
      </a:lt2>
      <a:accent1>
        <a:srgbClr val="06C5F8"/>
      </a:accent1>
      <a:accent2>
        <a:srgbClr val="3A9BF3"/>
      </a:accent2>
      <a:accent3>
        <a:srgbClr val="2FB8AE"/>
      </a:accent3>
      <a:accent4>
        <a:srgbClr val="BECA41"/>
      </a:accent4>
      <a:accent5>
        <a:srgbClr val="FDBF11"/>
      </a:accent5>
      <a:accent6>
        <a:srgbClr val="E21075"/>
      </a:accent6>
      <a:hlink>
        <a:srgbClr val="3A9BF3"/>
      </a:hlink>
      <a:folHlink>
        <a:srgbClr val="3A9BF3"/>
      </a:folHlink>
    </a:clrScheme>
    <a:fontScheme name="Detec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0D0D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Gelb Hell">
      <a:srgbClr val="FFDE5D"/>
    </a:custClr>
    <a:custClr name="Gelb Dunkel">
      <a:srgbClr val="DBAD39"/>
    </a:custClr>
    <a:custClr name="Orange Hell">
      <a:srgbClr val="FFB356"/>
    </a:custClr>
    <a:custClr name="Orange Dunkel">
      <a:srgbClr val="D48936"/>
    </a:custClr>
    <a:custClr name="Hellblau Hell">
      <a:srgbClr val="7ECBF5"/>
    </a:custClr>
    <a:custClr name="Hellblau Dunkel">
      <a:srgbClr val="317CB3"/>
    </a:custClr>
    <a:custClr name="Dunkelblau Hell">
      <a:srgbClr val="529AD6"/>
    </a:custClr>
    <a:custClr name="Dunkelblau Dunkel">
      <a:srgbClr val="235482"/>
    </a:custClr>
    <a:custClr name="Petrol Hell">
      <a:srgbClr val="65C8C0"/>
    </a:custClr>
    <a:custClr name="Petrol Dunkel">
      <a:srgbClr val="218076"/>
    </a:custClr>
    <a:custClr name="Grün Hell">
      <a:srgbClr val="CFD873"/>
    </a:custClr>
    <a:custClr name="Grün Dunkel">
      <a:srgbClr val="889130"/>
    </a:custClr>
    <a:custClr name="Schwarz">
      <a:srgbClr val="000000"/>
    </a:custClr>
    <a:custClr name="Grau 38">
      <a:srgbClr val="262626"/>
    </a:custClr>
    <a:custClr name="Grau 5">
      <a:srgbClr val="4B4B4B"/>
    </a:custClr>
    <a:custClr name="Grau 3">
      <a:srgbClr val="6C6C6C"/>
    </a:custClr>
    <a:custClr name="Grau 2">
      <a:srgbClr val="7C7C7C"/>
    </a:custClr>
    <a:custClr name="Grau 1">
      <a:srgbClr val="A4A4A4"/>
    </a:custClr>
    <a:custClr name="Grau 6">
      <a:srgbClr val="D0D0D0"/>
    </a:custClr>
    <a:custClr name="Grau 230">
      <a:srgbClr val="E6E6E6"/>
    </a:custClr>
    <a:custClr name="Grau 4">
      <a:srgbClr val="EDEDED"/>
    </a:custClr>
  </a:custClrLst>
  <a:extLst>
    <a:ext uri="{05A4C25C-085E-4340-85A3-A5531E510DB2}">
      <thm15:themeFamily xmlns:thm15="http://schemas.microsoft.com/office/thememl/2012/main" name="CAMARA Master Template.potx" id="{04A64C77-3702-487F-8FF4-D54C7EDECC02}" vid="{74A7C627-616C-49F6-8964-9251D8F235AF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219EAD88F651D45AFF76DAB9BB1A03F" ma:contentTypeVersion="14" ma:contentTypeDescription="Create a new document." ma:contentTypeScope="" ma:versionID="28be03bbc1bd983b9f8a310ac9912f56">
  <xsd:schema xmlns:xsd="http://www.w3.org/2001/XMLSchema" xmlns:xs="http://www.w3.org/2001/XMLSchema" xmlns:p="http://schemas.microsoft.com/office/2006/metadata/properties" xmlns:ns2="c1bfa559-e080-48ba-9d52-60f8be09d75b" xmlns:ns3="0e615ac8-9621-46a8-9753-c1350d6f80cf" targetNamespace="http://schemas.microsoft.com/office/2006/metadata/properties" ma:root="true" ma:fieldsID="80b6cca7422f7b30550d07cda4f4286b" ns2:_="" ns3:_="">
    <xsd:import namespace="c1bfa559-e080-48ba-9d52-60f8be09d75b"/>
    <xsd:import namespace="0e615ac8-9621-46a8-9753-c1350d6f80c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bfa559-e080-48ba-9d52-60f8be09d75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3ebd722c-8eea-4fa2-a257-8118360c8ea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615ac8-9621-46a8-9753-c1350d6f80c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bf401090-1793-4872-8513-f0955674393d}" ma:internalName="TaxCatchAll" ma:showField="CatchAllData" ma:web="0e615ac8-9621-46a8-9753-c1350d6f80c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e615ac8-9621-46a8-9753-c1350d6f80cf" xsi:nil="true"/>
    <lcf76f155ced4ddcb4097134ff3c332f xmlns="c1bfa559-e080-48ba-9d52-60f8be09d75b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888B79D8-AD9A-445C-A4E8-215F845C699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1bfa559-e080-48ba-9d52-60f8be09d75b"/>
    <ds:schemaRef ds:uri="0e615ac8-9621-46a8-9753-c1350d6f80c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1F0326B-7C1A-45A3-8DA0-69177D7DF15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3BBFDFA-5176-4604-BC0A-4B8DE96B358C}">
  <ds:schemaRefs>
    <ds:schemaRef ds:uri="http://schemas.microsoft.com/office/2006/documentManagement/types"/>
    <ds:schemaRef ds:uri="http://purl.org/dc/elements/1.1/"/>
    <ds:schemaRef ds:uri="http://purl.org/dc/dcmitype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0e615ac8-9621-46a8-9753-c1350d6f80cf"/>
    <ds:schemaRef ds:uri="c1bfa559-e080-48ba-9d52-60f8be09d75b"/>
    <ds:schemaRef ds:uri="http://schemas.microsoft.com/office/2006/metadata/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bde4dffc-4b60-4cf6-8b04-a5eeb25f5c4f}" enabled="0" method="" siteId="{bde4dffc-4b60-4cf6-8b04-a5eeb25f5c4f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CAMARA Master Template</Template>
  <TotalTime>595</TotalTime>
  <Words>359</Words>
  <Application>Microsoft Office PowerPoint</Application>
  <PresentationFormat>Personalizado</PresentationFormat>
  <Paragraphs>42</Paragraphs>
  <Slides>1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</vt:i4>
      </vt:variant>
    </vt:vector>
  </HeadingPairs>
  <TitlesOfParts>
    <vt:vector size="10" baseType="lpstr">
      <vt:lpstr>Arial</vt:lpstr>
      <vt:lpstr>Open Sans</vt:lpstr>
      <vt:lpstr>Calibri</vt:lpstr>
      <vt:lpstr>Montserrat</vt:lpstr>
      <vt:lpstr>FlexoSoft</vt:lpstr>
      <vt:lpstr>Montserrat Light</vt:lpstr>
      <vt:lpstr>Wingdings 2</vt:lpstr>
      <vt:lpstr>Detecon_Master</vt:lpstr>
      <vt:lpstr>think-cell Folie</vt:lpstr>
      <vt:lpstr>Agreement Scop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ümmerle, Markus</dc:creator>
  <cp:lastModifiedBy>PEDRO DIEZ GARCIA</cp:lastModifiedBy>
  <cp:revision>259</cp:revision>
  <dcterms:created xsi:type="dcterms:W3CDTF">2023-04-03T09:16:22Z</dcterms:created>
  <dcterms:modified xsi:type="dcterms:W3CDTF">2023-06-07T16:17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219EAD88F651D45AFF76DAB9BB1A03F</vt:lpwstr>
  </property>
  <property fmtid="{D5CDD505-2E9C-101B-9397-08002B2CF9AE}" pid="3" name="MediaServiceImageTags">
    <vt:lpwstr/>
  </property>
</Properties>
</file>